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3"/>
  </p:notesMasterIdLst>
  <p:sldIdLst>
    <p:sldId id="257" r:id="rId3"/>
    <p:sldId id="346" r:id="rId4"/>
    <p:sldId id="347" r:id="rId5"/>
    <p:sldId id="344" r:id="rId6"/>
    <p:sldId id="354" r:id="rId7"/>
    <p:sldId id="345" r:id="rId8"/>
    <p:sldId id="349" r:id="rId9"/>
    <p:sldId id="348" r:id="rId10"/>
    <p:sldId id="352" r:id="rId11"/>
    <p:sldId id="35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9" autoAdjust="0"/>
    <p:restoredTop sz="94684" autoAdjust="0"/>
  </p:normalViewPr>
  <p:slideViewPr>
    <p:cSldViewPr snapToGrid="0">
      <p:cViewPr varScale="1">
        <p:scale>
          <a:sx n="81" d="100"/>
          <a:sy n="81" d="100"/>
        </p:scale>
        <p:origin x="126" y="7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1A0157-FE61-40A3-BC6D-C069C5E51481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CE916-2331-4974-8F1B-2C4E31CDB5B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47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902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06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32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2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2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1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7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7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0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0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6312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831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6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55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95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04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24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132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685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917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63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47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496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85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903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147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0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86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2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46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35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99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6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.xml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5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SCAN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2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434F8BB-3F92-4545-AC4A-7185CDE04D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434F8BB-3F92-4545-AC4A-7185CDE04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017958BD-A07D-4B65-9835-D8442D3DC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Society | Semiconductor Laboratory</a:t>
            </a:r>
            <a:r>
              <a:rPr lang="de-DE"/>
              <a:t>	</a:t>
            </a:r>
            <a:r>
              <a:rPr lang="de-DE" smtClean="0"/>
              <a:t>edet sensor </a:t>
            </a:r>
            <a:r>
              <a:rPr lang="de-DE" smtClean="0"/>
              <a:t>calibration |</a:t>
            </a:r>
            <a:r>
              <a:rPr lang="de-DE" smtClean="0"/>
              <a:t>25. workshop on depfet detectors 23.05.2023</a:t>
            </a:r>
            <a:r>
              <a:rPr lang="de-DE" dirty="0"/>
              <a:t>	</a:t>
            </a:r>
            <a:fld id="{4BB1897F-A1AE-4EDF-9F2D-8730C9693DB7}" type="slidenum">
              <a:rPr lang="de-DE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EDET SENSOR CALIBRATION</a:t>
            </a:r>
            <a:r>
              <a:rPr lang="de-DE" dirty="0"/>
              <a:t/>
            </a:r>
            <a:br>
              <a:rPr lang="de-DE" dirty="0"/>
            </a:br>
            <a:endParaRPr lang="de-DE" cap="non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</a:pPr>
            <a:r>
              <a:rPr lang="de-DE" dirty="0"/>
              <a:t>Semiconductor Laboratory of the Max Planck Society</a:t>
            </a:r>
          </a:p>
          <a:p>
            <a:pPr lvl="1" indent="0">
              <a:lnSpc>
                <a:spcPts val="2200"/>
              </a:lnSpc>
              <a:buNone/>
            </a:pPr>
            <a:r>
              <a:rPr lang="de-DE" dirty="0" smtClean="0"/>
              <a:t>Eduard Prinker</a:t>
            </a:r>
          </a:p>
        </p:txBody>
      </p:sp>
    </p:spTree>
    <p:extLst>
      <p:ext uri="{BB962C8B-B14F-4D97-AF65-F5344CB8AC3E}">
        <p14:creationId xmlns:p14="http://schemas.microsoft.com/office/powerpoint/2010/main" val="25722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905645"/>
          </a:xfrm>
        </p:spPr>
        <p:txBody>
          <a:bodyPr/>
          <a:lstStyle/>
          <a:p>
            <a:pPr algn="ctr"/>
            <a:r>
              <a:rPr lang="de-DE" smtClean="0"/>
              <a:t>EDET DETECTOR </a:t>
            </a:r>
            <a:r>
              <a:rPr lang="de-DE" smtClean="0"/>
              <a:t>calibration – Suggestions 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0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mtClean="0"/>
              <a:t>In-Situ?</a:t>
            </a:r>
          </a:p>
          <a:p>
            <a:pPr marL="465138" lvl="3" indent="-285750">
              <a:buFont typeface="Wingdings" panose="05000000000000000000" pitchFamily="2" charset="2"/>
              <a:buChar char="Ø"/>
            </a:pPr>
            <a:r>
              <a:rPr lang="en-US" smtClean="0"/>
              <a:t>Vacuum</a:t>
            </a:r>
          </a:p>
          <a:p>
            <a:pPr marL="465138" lvl="3" indent="-285750">
              <a:buFont typeface="Wingdings" panose="05000000000000000000" pitchFamily="2" charset="2"/>
              <a:buChar char="Ø"/>
            </a:pPr>
            <a:r>
              <a:rPr lang="en-US" smtClean="0"/>
              <a:t>TEM or LED?</a:t>
            </a:r>
          </a:p>
          <a:p>
            <a:pPr marL="465138" lvl="3" indent="-285750">
              <a:buFont typeface="Wingdings" panose="05000000000000000000" pitchFamily="2" charset="2"/>
              <a:buChar char="Ø"/>
            </a:pPr>
            <a:r>
              <a:rPr lang="en-US" smtClean="0"/>
              <a:t>Sloped Housing: diffusion glas?</a:t>
            </a:r>
          </a:p>
          <a:p>
            <a:pPr marL="465138" lvl="3" indent="-285750">
              <a:buFont typeface="Wingdings" panose="05000000000000000000" pitchFamily="2" charset="2"/>
              <a:buChar char="Ø"/>
            </a:pPr>
            <a:endParaRPr lang="en-US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mtClean="0"/>
              <a:t>Repetitions?</a:t>
            </a:r>
          </a:p>
          <a:p>
            <a:pPr marL="465138" lvl="3">
              <a:buFont typeface="Wingdings" panose="05000000000000000000" pitchFamily="2" charset="2"/>
              <a:buChar char="Ø"/>
            </a:pPr>
            <a:r>
              <a:rPr lang="en-US"/>
              <a:t>Radiation damage / Annealing: BELLE experience?</a:t>
            </a:r>
          </a:p>
          <a:p>
            <a:pPr marL="465138" lvl="3">
              <a:buFont typeface="Wingdings" panose="05000000000000000000" pitchFamily="2" charset="2"/>
              <a:buChar char="Ø"/>
            </a:pPr>
            <a:r>
              <a:rPr lang="en-US"/>
              <a:t>Shift offset level or change in individual pixel gain parameter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mtClean="0"/>
              <a:t>Alternative Proposals?</a:t>
            </a:r>
          </a:p>
          <a:p>
            <a:pPr marL="28575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97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515654" y="1538996"/>
            <a:ext cx="6448425" cy="3362325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Problem: pixel-to-pixel gain variations</a:t>
            </a:r>
            <a:br>
              <a:rPr lang="de-DE" smtClean="0"/>
            </a:br>
            <a:r>
              <a:rPr lang="de-DE" sz="1600" smtClean="0"/>
              <a:t>main reason: variations in manufacturing process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1087655" y="5072514"/>
                <a:ext cx="9610003" cy="88485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/>
                  <a:t>f</a:t>
                </a:r>
                <a:r>
                  <a:rPr lang="en-US" sz="1600" smtClean="0"/>
                  <a:t>ocused laser spot (</a:t>
                </a: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∅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10µ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  <m:r>
                      <a:rPr lang="en-US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600" dirty="0" smtClean="0"/>
                  <a:t> </a:t>
                </a:r>
                <a:r>
                  <a:rPr lang="en-US" sz="1600" smtClean="0"/>
                  <a:t>scan by 3 µm motorstage steps + recording only largest ADU values exhibit quite different same charge responses per pixel </a:t>
                </a:r>
                <a:r>
                  <a:rPr lang="en-US" sz="1200" smtClean="0"/>
                  <a:t>(EDET double pixel structure exemplarily marked by a black rectangle: every second pixel row (vertical direction) is pervaded by a drift line rounding down the collected charge at the corners)</a:t>
                </a:r>
                <a:endParaRPr lang="en-US" sz="1200" dirty="0" err="1" smtClean="0"/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655" y="5072514"/>
                <a:ext cx="9610003" cy="884858"/>
              </a:xfrm>
              <a:prstGeom prst="rect">
                <a:avLst/>
              </a:prstGeom>
              <a:blipFill>
                <a:blip r:embed="rId3"/>
                <a:stretch>
                  <a:fillRect l="-1268" t="-4138" r="-1649" b="-55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820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3600450" y="3082925"/>
            <a:ext cx="2339975" cy="2339975"/>
          </a:xfrm>
          <a:prstGeom prst="rect">
            <a:avLst/>
          </a:prstGeom>
        </p:spPr>
      </p:pic>
      <p:pic>
        <p:nvPicPr>
          <p:cNvPr id="13" name="Inhaltsplatzhalter 12"/>
          <p:cNvPicPr>
            <a:picLocks noGrp="1" noChangeAspect="1"/>
          </p:cNvPicPr>
          <p:nvPr>
            <p:ph sz="half" idx="13"/>
          </p:nvPr>
        </p:nvPicPr>
        <p:blipFill>
          <a:blip r:embed="rId3"/>
          <a:stretch>
            <a:fillRect/>
          </a:stretch>
        </p:blipFill>
        <p:spPr>
          <a:xfrm>
            <a:off x="8904288" y="3082925"/>
            <a:ext cx="2339975" cy="2339975"/>
          </a:xfrm>
          <a:prstGeom prst="rect">
            <a:avLst/>
          </a:prstGeom>
        </p:spPr>
      </p:pic>
      <p:pic>
        <p:nvPicPr>
          <p:cNvPr id="12" name="Inhaltsplatzhalter 11"/>
          <p:cNvPicPr>
            <a:picLocks noGrp="1" noChangeAspect="1"/>
          </p:cNvPicPr>
          <p:nvPr>
            <p:ph sz="half" idx="14"/>
          </p:nvPr>
        </p:nvPicPr>
        <p:blipFill>
          <a:blip r:embed="rId4"/>
          <a:stretch>
            <a:fillRect/>
          </a:stretch>
        </p:blipFill>
        <p:spPr>
          <a:xfrm>
            <a:off x="6251575" y="3082925"/>
            <a:ext cx="2339975" cy="2339975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911489"/>
          </a:xfrm>
        </p:spPr>
        <p:txBody>
          <a:bodyPr/>
          <a:lstStyle/>
          <a:p>
            <a:pPr algn="ctr"/>
            <a:r>
              <a:rPr lang="de-DE" smtClean="0"/>
              <a:t>Pixel gain dispersion typical for all S</a:t>
            </a:r>
            <a:r>
              <a:rPr lang="de-DE" cap="none" smtClean="0"/>
              <a:t>i</a:t>
            </a:r>
            <a:r>
              <a:rPr lang="de-DE" smtClean="0"/>
              <a:t>-detectors</a:t>
            </a:r>
            <a:br>
              <a:rPr lang="de-DE" smtClean="0"/>
            </a:br>
            <a:r>
              <a:rPr lang="de-DE" sz="1600" smtClean="0"/>
              <a:t>Conventional linear calibration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nhaltsplatzhalter 10"/>
          <p:cNvPicPr>
            <a:picLocks noGrp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947738" y="3531924"/>
            <a:ext cx="2339975" cy="1441977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1174282" y="2184935"/>
            <a:ext cx="181460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 smtClean="0"/>
          </a:p>
        </p:txBody>
      </p:sp>
      <p:sp>
        <p:nvSpPr>
          <p:cNvPr id="15" name="Textfeld 14"/>
          <p:cNvSpPr txBox="1"/>
          <p:nvPr/>
        </p:nvSpPr>
        <p:spPr>
          <a:xfrm>
            <a:off x="1150945" y="1586009"/>
            <a:ext cx="9888521" cy="8848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b="1">
                <a:solidFill>
                  <a:srgbClr val="FF0000"/>
                </a:solidFill>
              </a:rPr>
              <a:t>Ideally, after interposing a specific calibration algorithm, each pixel reacts in an equal way, if exposed to an equal external </a:t>
            </a:r>
            <a:r>
              <a:rPr lang="en-US" b="1" smtClean="0">
                <a:solidFill>
                  <a:srgbClr val="FF0000"/>
                </a:solidFill>
              </a:rPr>
              <a:t>stimulus </a:t>
            </a:r>
            <a:r>
              <a:rPr lang="en-US" b="1" smtClean="0">
                <a:solidFill>
                  <a:srgbClr val="FF0000"/>
                </a:solidFill>
                <a:sym typeface="Wingdings" panose="05000000000000000000" pitchFamily="2" charset="2"/>
              </a:rPr>
              <a:t> monochromatic radiation or radioactive source: e.g. BELLE detector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443790" y="3281660"/>
            <a:ext cx="1160574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aseline="30000" smtClean="0"/>
              <a:t>109</a:t>
            </a:r>
            <a:r>
              <a:rPr lang="en-US" sz="1600" smtClean="0"/>
              <a:t>Cd source</a:t>
            </a:r>
            <a:endParaRPr lang="en-US" sz="1600" dirty="0" err="1" smtClean="0"/>
          </a:p>
        </p:txBody>
      </p:sp>
      <p:sp>
        <p:nvSpPr>
          <p:cNvPr id="17" name="Textfeld 16"/>
          <p:cNvSpPr txBox="1"/>
          <p:nvPr/>
        </p:nvSpPr>
        <p:spPr>
          <a:xfrm>
            <a:off x="3780364" y="2620605"/>
            <a:ext cx="2314842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600" smtClean="0"/>
              <a:t>different pixel gains, different peaks</a:t>
            </a:r>
            <a:endParaRPr lang="en-US" sz="1600" dirty="0" err="1" smtClean="0"/>
          </a:p>
        </p:txBody>
      </p:sp>
      <p:sp>
        <p:nvSpPr>
          <p:cNvPr id="18" name="Textfeld 17"/>
          <p:cNvSpPr txBox="1"/>
          <p:nvPr/>
        </p:nvSpPr>
        <p:spPr>
          <a:xfrm>
            <a:off x="6634125" y="2787972"/>
            <a:ext cx="1731243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/>
              <a:t>l</a:t>
            </a:r>
            <a:r>
              <a:rPr lang="en-US" sz="1600" smtClean="0"/>
              <a:t>inear extrapolation</a:t>
            </a:r>
            <a:endParaRPr lang="en-US" sz="1600" dirty="0" err="1" smtClean="0"/>
          </a:p>
        </p:txBody>
      </p:sp>
      <p:sp>
        <p:nvSpPr>
          <p:cNvPr id="19" name="Textfeld 18"/>
          <p:cNvSpPr txBox="1"/>
          <p:nvPr/>
        </p:nvSpPr>
        <p:spPr>
          <a:xfrm>
            <a:off x="9174838" y="2787972"/>
            <a:ext cx="190917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smtClean="0"/>
              <a:t>"absolute" calibration</a:t>
            </a:r>
            <a:endParaRPr lang="en-US" sz="1600" dirty="0" err="1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/>
              <p:cNvSpPr txBox="1"/>
              <p:nvPr/>
            </p:nvSpPr>
            <p:spPr>
              <a:xfrm>
                <a:off x="1072406" y="5343893"/>
                <a:ext cx="2090637" cy="2678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smtClean="0"/>
                  <a:t>22keV peak ~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6,000 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endParaRPr lang="en-US" sz="1600" dirty="0" err="1" smtClean="0"/>
              </a:p>
            </p:txBody>
          </p:sp>
        </mc:Choice>
        <mc:Fallback xmlns="">
          <p:sp>
            <p:nvSpPr>
              <p:cNvPr id="20" name="Textfeld 1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2406" y="5343893"/>
                <a:ext cx="2090637" cy="267894"/>
              </a:xfrm>
              <a:prstGeom prst="rect">
                <a:avLst/>
              </a:prstGeom>
              <a:blipFill>
                <a:blip r:embed="rId6"/>
                <a:stretch>
                  <a:fillRect l="-6122" t="-15909" b="-454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feld 20"/>
          <p:cNvSpPr txBox="1"/>
          <p:nvPr/>
        </p:nvSpPr>
        <p:spPr>
          <a:xfrm>
            <a:off x="1902120" y="4984089"/>
            <a:ext cx="431208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smtClean="0"/>
              <a:t>ADU</a:t>
            </a:r>
            <a:endParaRPr lang="en-US" sz="1600" dirty="0" err="1" smtClean="0"/>
          </a:p>
        </p:txBody>
      </p:sp>
      <p:sp>
        <p:nvSpPr>
          <p:cNvPr id="22" name="Textfeld 21"/>
          <p:cNvSpPr txBox="1"/>
          <p:nvPr/>
        </p:nvSpPr>
        <p:spPr>
          <a:xfrm>
            <a:off x="738630" y="3865182"/>
            <a:ext cx="171522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/>
              <a:t>#</a:t>
            </a:r>
            <a:r>
              <a:rPr lang="en-US" sz="1600" smtClean="0"/>
              <a:t> 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54617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8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947738" y="3019783"/>
            <a:ext cx="4859337" cy="2466259"/>
          </a:xfrm>
          <a:prstGeom prst="rect">
            <a:avLst/>
          </a:prstGeom>
        </p:spPr>
      </p:pic>
      <p:pic>
        <p:nvPicPr>
          <p:cNvPr id="11" name="Inhaltsplatzhalter 10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384925" y="3196908"/>
            <a:ext cx="4859338" cy="2112009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482133"/>
          </a:xfrm>
        </p:spPr>
        <p:txBody>
          <a:bodyPr/>
          <a:lstStyle/>
          <a:p>
            <a:pPr algn="ctr"/>
            <a:r>
              <a:rPr lang="de-DE" smtClean="0"/>
              <a:t>Nonlinear response curve of an edet pixel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/>
              <p:cNvSpPr txBox="1"/>
              <p:nvPr/>
            </p:nvSpPr>
            <p:spPr>
              <a:xfrm>
                <a:off x="2788300" y="2318553"/>
                <a:ext cx="3194208" cy="73866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l"/>
                <a:r>
                  <a:rPr lang="en-US" sz="1600" b="1" smtClean="0">
                    <a:solidFill>
                      <a:srgbClr val="FF0000"/>
                    </a:solidFill>
                  </a:rPr>
                  <a:t>200 keV TEM electron</a:t>
                </a:r>
              </a:p>
              <a:p>
                <a:pPr algn="l"/>
                <a:r>
                  <a:rPr lang="en-US" sz="1600" b="1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 ~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pPr>
                      <m:e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𝟕</m:t>
                        </m:r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,</m:t>
                        </m:r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𝟎𝟎𝟎</m:t>
                        </m:r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 </m:t>
                        </m:r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𝒆</m:t>
                        </m:r>
                      </m:e>
                      <m:sup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sz="1600" b="1" dirty="0" smtClean="0">
                    <a:solidFill>
                      <a:srgbClr val="FF0000"/>
                    </a:solidFill>
                  </a:rPr>
                  <a:t> </a:t>
                </a:r>
                <a:r>
                  <a:rPr lang="en-US" sz="1600" b="1" smtClean="0">
                    <a:solidFill>
                      <a:srgbClr val="FF0000"/>
                    </a:solidFill>
                  </a:rPr>
                  <a:t>@ 30µm thickness</a:t>
                </a:r>
              </a:p>
              <a:p>
                <a:pPr algn="l"/>
                <a:r>
                  <a:rPr lang="en-US" sz="1600" b="1" smtClean="0">
                    <a:solidFill>
                      <a:srgbClr val="FF0000"/>
                    </a:solidFill>
                    <a:sym typeface="Wingdings" panose="05000000000000000000" pitchFamily="2" charset="2"/>
                  </a:rPr>
                  <a:t> ~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𝟏𝟓</m:t>
                    </m:r>
                    <m:r>
                      <a:rPr lang="en-US" sz="16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,</m:t>
                    </m:r>
                    <m:r>
                      <a:rPr lang="en-US" sz="16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𝟒𝟎𝟎</m:t>
                    </m:r>
                    <m:r>
                      <a:rPr lang="en-US" sz="16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 </m:t>
                    </m:r>
                    <m:sSup>
                      <m:sSupPr>
                        <m:ctrlP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pPr>
                      <m:e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𝒆</m:t>
                        </m:r>
                      </m:e>
                      <m:sup>
                        <m:r>
                          <a:rPr lang="en-US" sz="16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sz="1600" b="1" smtClean="0">
                    <a:solidFill>
                      <a:srgbClr val="FF0000"/>
                    </a:solidFill>
                  </a:rPr>
                  <a:t>@ 50 µm thickness</a:t>
                </a:r>
                <a:endParaRPr lang="en-US" sz="1600" b="1" dirty="0" err="1" smtClean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" name="Textfeld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88300" y="2318553"/>
                <a:ext cx="3194208" cy="738664"/>
              </a:xfrm>
              <a:prstGeom prst="rect">
                <a:avLst/>
              </a:prstGeom>
              <a:blipFill>
                <a:blip r:embed="rId4"/>
                <a:stretch>
                  <a:fillRect l="-3817" t="-8197" r="-2290" b="-155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/>
              <p:cNvSpPr txBox="1"/>
              <p:nvPr/>
            </p:nvSpPr>
            <p:spPr>
              <a:xfrm>
                <a:off x="6721099" y="2052637"/>
                <a:ext cx="4186990" cy="83048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smtClean="0"/>
                  <a:t>internal gate region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280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𝑝𝐴</m:t>
                        </m:r>
                      </m:num>
                      <m:den>
                        <m:sSup>
                          <m:sSup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</m:sup>
                        </m:sSup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𝑎𝑚𝑝𝑙𝑖𝑓𝑖𝑐𝑎𝑡𝑖𝑜𝑛</m:t>
                    </m:r>
                  </m:oMath>
                </a14:m>
                <a:endParaRPr lang="en-US" sz="1600" b="0" smtClean="0"/>
              </a:p>
              <a:p>
                <a:pPr algn="l"/>
                <a:r>
                  <a:rPr lang="en-US" sz="1600"/>
                  <a:t>o</a:t>
                </a:r>
                <a:r>
                  <a:rPr lang="en-US" sz="1600" smtClean="0"/>
                  <a:t>verflow region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~</m:t>
                    </m:r>
                    <m:f>
                      <m:f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70</m:t>
                        </m:r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𝑝𝐴</m:t>
                        </m:r>
                      </m:num>
                      <m:den>
                        <m:sSup>
                          <m:sSupPr>
                            <m:ctrlP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lang="en-US" sz="16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</m:sup>
                        </m:sSup>
                      </m:den>
                    </m:f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𝑎𝑚𝑝𝑙𝑖𝑓𝑖𝑐𝑎𝑡𝑖𝑜𝑛</m:t>
                    </m:r>
                  </m:oMath>
                </a14:m>
                <a:endParaRPr lang="en-US" sz="1600" b="0" smtClean="0"/>
              </a:p>
              <a:p>
                <a:pPr algn="l"/>
                <a:r>
                  <a:rPr lang="en-US" sz="1200">
                    <a:sym typeface="Wingdings" panose="05000000000000000000" pitchFamily="2" charset="2"/>
                  </a:rPr>
                  <a:t>i</a:t>
                </a:r>
                <a:r>
                  <a:rPr lang="en-US" sz="1200" smtClean="0">
                    <a:sym typeface="Wingdings" panose="05000000000000000000" pitchFamily="2" charset="2"/>
                  </a:rPr>
                  <a:t>nfluencing electrons only partly in the drain/source channel</a:t>
                </a:r>
                <a:endParaRPr lang="en-US" sz="1200" b="0" smtClean="0"/>
              </a:p>
            </p:txBody>
          </p:sp>
        </mc:Choice>
        <mc:Fallback xmlns=""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21099" y="2052637"/>
                <a:ext cx="4186990" cy="830484"/>
              </a:xfrm>
              <a:prstGeom prst="rect">
                <a:avLst/>
              </a:prstGeom>
              <a:blipFill>
                <a:blip r:embed="rId5"/>
                <a:stretch>
                  <a:fillRect l="-3061" t="-7353" b="-95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feld 13"/>
          <p:cNvSpPr txBox="1"/>
          <p:nvPr/>
        </p:nvSpPr>
        <p:spPr>
          <a:xfrm>
            <a:off x="864099" y="5763225"/>
            <a:ext cx="10236818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à"/>
            </a:pPr>
            <a:r>
              <a:rPr lang="en-US" sz="1600" b="1" smtClean="0">
                <a:solidFill>
                  <a:srgbClr val="0070C0"/>
                </a:solidFill>
                <a:sym typeface="Wingdings" panose="05000000000000000000" pitchFamily="2" charset="2"/>
              </a:rPr>
              <a:t>SIGNAL COMPRESSION: high contrast images combining high energy resolution for areas obtaining only low signal charge</a:t>
            </a:r>
          </a:p>
        </p:txBody>
      </p:sp>
    </p:spTree>
    <p:extLst>
      <p:ext uri="{BB962C8B-B14F-4D97-AF65-F5344CB8AC3E}">
        <p14:creationId xmlns:p14="http://schemas.microsoft.com/office/powerpoint/2010/main" val="77998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Nonlinear pixel response</a:t>
            </a:r>
            <a:r>
              <a:rPr lang="de-DE" smtClean="0"/>
              <a:t/>
            </a:r>
            <a:br>
              <a:rPr lang="de-DE" smtClean="0"/>
            </a:br>
            <a:r>
              <a:rPr lang="de-DE" sz="1600" smtClean="0"/>
              <a:t>intensification of the calibration problem at pixel borders and edges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nhaltsplatzhalter 7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535770" y="1590887"/>
            <a:ext cx="5470393" cy="2502569"/>
          </a:xfrm>
          <a:prstGeom prst="rect">
            <a:avLst/>
          </a:prstGeom>
        </p:spPr>
      </p:pic>
      <p:pic>
        <p:nvPicPr>
          <p:cNvPr id="9" name="Grafik 8"/>
          <p:cNvPicPr/>
          <p:nvPr/>
        </p:nvPicPr>
        <p:blipFill>
          <a:blip r:embed="rId3"/>
          <a:stretch>
            <a:fillRect/>
          </a:stretch>
        </p:blipFill>
        <p:spPr>
          <a:xfrm>
            <a:off x="6096001" y="1879183"/>
            <a:ext cx="5400675" cy="1617345"/>
          </a:xfrm>
          <a:prstGeom prst="rect">
            <a:avLst/>
          </a:prstGeom>
        </p:spPr>
      </p:pic>
      <p:pic>
        <p:nvPicPr>
          <p:cNvPr id="11" name="Grafik 10"/>
          <p:cNvPicPr/>
          <p:nvPr/>
        </p:nvPicPr>
        <p:blipFill>
          <a:blip r:embed="rId4"/>
          <a:stretch>
            <a:fillRect/>
          </a:stretch>
        </p:blipFill>
        <p:spPr>
          <a:xfrm>
            <a:off x="6006163" y="3925671"/>
            <a:ext cx="5400675" cy="2310130"/>
          </a:xfrm>
          <a:prstGeom prst="rect">
            <a:avLst/>
          </a:prstGeom>
        </p:spPr>
      </p:pic>
      <p:cxnSp>
        <p:nvCxnSpPr>
          <p:cNvPr id="5" name="Gerade Verbindung mit Pfeil 4"/>
          <p:cNvCxnSpPr/>
          <p:nvPr/>
        </p:nvCxnSpPr>
        <p:spPr>
          <a:xfrm>
            <a:off x="5486400" y="3819793"/>
            <a:ext cx="770021" cy="496748"/>
          </a:xfrm>
          <a:prstGeom prst="straightConnector1">
            <a:avLst/>
          </a:prstGeom>
          <a:ln w="317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817110" y="4928658"/>
            <a:ext cx="4546116" cy="8848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smtClean="0">
                <a:solidFill>
                  <a:srgbClr val="FF0000"/>
                </a:solidFill>
              </a:rPr>
              <a:t>If laser hits a corner of 4 empty pixels, the charge is first collected in the internal gate region with a much higher amplification 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593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Inhaltsplatzhalter 5"/>
              <p:cNvGraphicFramePr>
                <a:graphicFrameLocks noGrp="1"/>
              </p:cNvGraphicFramePr>
              <p:nvPr>
                <p:ph sz="half" idx="1"/>
                <p:extLst>
                  <p:ext uri="{D42A27DB-BD31-4B8C-83A1-F6EECF244321}">
                    <p14:modId xmlns:p14="http://schemas.microsoft.com/office/powerpoint/2010/main" val="1680878467"/>
                  </p:ext>
                </p:extLst>
              </p:nvPr>
            </p:nvGraphicFramePr>
            <p:xfrm>
              <a:off x="947738" y="1039813"/>
              <a:ext cx="10296525" cy="54610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432175">
                      <a:extLst>
                        <a:ext uri="{9D8B030D-6E8A-4147-A177-3AD203B41FA5}">
                          <a16:colId xmlns:a16="http://schemas.microsoft.com/office/drawing/2014/main" val="2635491227"/>
                        </a:ext>
                      </a:extLst>
                    </a:gridCol>
                    <a:gridCol w="3432175">
                      <a:extLst>
                        <a:ext uri="{9D8B030D-6E8A-4147-A177-3AD203B41FA5}">
                          <a16:colId xmlns:a16="http://schemas.microsoft.com/office/drawing/2014/main" val="2007777207"/>
                        </a:ext>
                      </a:extLst>
                    </a:gridCol>
                    <a:gridCol w="3432175">
                      <a:extLst>
                        <a:ext uri="{9D8B030D-6E8A-4147-A177-3AD203B41FA5}">
                          <a16:colId xmlns:a16="http://schemas.microsoft.com/office/drawing/2014/main" val="2809925005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INSTRUMENT/METHOD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mtClean="0"/>
                            <a:t>PROS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mtClean="0"/>
                            <a:t>CONS</a:t>
                          </a:r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7754474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Radioactive</a:t>
                          </a:r>
                          <a:r>
                            <a:rPr lang="en-US" baseline="0" smtClean="0"/>
                            <a:t> sources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eliver exact, characteristic energy levels for an absolute calibration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cceptable photon interaction probability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capability to calibrate all pixels at once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uxiliary tool for cross-calibration of other methods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an only calibrate one point on the pixel’s charge curve at a comparably low level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mplex spectra (could be mitigated by monochromators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06262123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X-ray (high energy)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calable intensit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evice depending flat field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ery low photoabsorption probabilit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ominated by the Compton effect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ccessibility (synchrotron radiation sources)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789777539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14:m>
                            <m:oMath xmlns:m="http://schemas.openxmlformats.org/officeDocument/2006/math">
                              <m:sSup>
                                <m:sSupPr>
                                  <m:ctrlPr>
                                    <a:rPr lang="en-US" sz="1800" i="1" kern="1200" smtClean="0">
                                      <a:solidFill>
                                        <a:schemeClr val="dk1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i="1" kern="1200">
                                      <a:solidFill>
                                        <a:schemeClr val="dk1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𝛽</m:t>
                                  </m:r>
                                </m:e>
                                <m:sup>
                                  <m:r>
                                    <a:rPr lang="en-US" sz="1800" i="1" kern="1200">
                                      <a:solidFill>
                                        <a:schemeClr val="dk1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−</m:t>
                                  </m:r>
                                </m:sup>
                              </m:sSup>
                            </m:oMath>
                          </a14:m>
                          <a:r>
                            <a:rPr lang="en-US" sz="1800" i="1" kern="120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emitter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imilarity to a TEM beam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no vacuum apparatus necessary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ntinuous spectrum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most of the electrons would leave the detector, so the escape energy has to be measured (scintillator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21401278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14:m>
                            <m:oMath xmlns:m="http://schemas.openxmlformats.org/officeDocument/2006/math">
                              <m:r>
                                <a:rPr lang="en-US" sz="1800" i="1" kern="1200" smtClean="0">
                                  <a:solidFill>
                                    <a:schemeClr val="dk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𝛼</m:t>
                              </m:r>
                            </m:oMath>
                          </a14:m>
                          <a:r>
                            <a:rPr lang="en-US" sz="1800" i="1" kern="120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-emitter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evere radiation damage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energy level too high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acuum device and corresponding interconnection hardware necessary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60075138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TEM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30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radual increase of both, intensity (in 10eV steps up to 300keV) and quantity (focusing/defocusing) </a:t>
                          </a: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  <a:sym typeface="Wingdings" panose="05000000000000000000" pitchFamily="2" charset="2"/>
                            </a:rPr>
                            <a:t></a:t>
                          </a: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 build complete charge curve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acuum device and corresponding interconnection hardware necessar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Poisson noise (shot noise) due to fluctuations of emitted TEM electrons </a:t>
                          </a: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  <a:sym typeface="Wingdings" panose="05000000000000000000" pitchFamily="2" charset="2"/>
                            </a:rPr>
                            <a:t></a:t>
                          </a: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precise intensity measurements necessary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9631182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Laser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no 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ntensity controllable via applied voltage and/or time (pulse width &amp; frequ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ull control of individual pixel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total energy transfer unknown (quantum effici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only cell-by-cell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ack of absolute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38316620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LED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no 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ntrollable intensity (by frequency or LED current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simultaneous calibration of all pixels possibl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total energy transfer unknown (quantum effici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ack of absolute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89674935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CLEAR backemission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simultaneous calibration of all pixel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evel of original backemission not know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inding optimal operation point for all pixels (process variations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873896113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Inhaltsplatzhalter 5"/>
              <p:cNvGraphicFramePr>
                <a:graphicFrameLocks noGrp="1"/>
              </p:cNvGraphicFramePr>
              <p:nvPr>
                <p:ph sz="half" idx="1"/>
                <p:extLst>
                  <p:ext uri="{D42A27DB-BD31-4B8C-83A1-F6EECF244321}">
                    <p14:modId xmlns:p14="http://schemas.microsoft.com/office/powerpoint/2010/main" val="1680878467"/>
                  </p:ext>
                </p:extLst>
              </p:nvPr>
            </p:nvGraphicFramePr>
            <p:xfrm>
              <a:off x="947738" y="1039813"/>
              <a:ext cx="10296525" cy="546100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3432175">
                      <a:extLst>
                        <a:ext uri="{9D8B030D-6E8A-4147-A177-3AD203B41FA5}">
                          <a16:colId xmlns:a16="http://schemas.microsoft.com/office/drawing/2014/main" val="2635491227"/>
                        </a:ext>
                      </a:extLst>
                    </a:gridCol>
                    <a:gridCol w="3432175">
                      <a:extLst>
                        <a:ext uri="{9D8B030D-6E8A-4147-A177-3AD203B41FA5}">
                          <a16:colId xmlns:a16="http://schemas.microsoft.com/office/drawing/2014/main" val="2007777207"/>
                        </a:ext>
                      </a:extLst>
                    </a:gridCol>
                    <a:gridCol w="3432175">
                      <a:extLst>
                        <a:ext uri="{9D8B030D-6E8A-4147-A177-3AD203B41FA5}">
                          <a16:colId xmlns:a16="http://schemas.microsoft.com/office/drawing/2014/main" val="2809925005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INSTRUMENT/METHOD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mtClean="0"/>
                            <a:t>PROS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mtClean="0"/>
                            <a:t>CONS</a:t>
                          </a:r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77544740"/>
                      </a:ext>
                    </a:extLst>
                  </a:tr>
                  <a:tr h="8534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Radioactive</a:t>
                          </a:r>
                          <a:r>
                            <a:rPr lang="en-US" baseline="0" smtClean="0"/>
                            <a:t> sources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eliver exact, characteristic energy levels for an absolute calibration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cceptable photon interaction probability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capability to calibrate all pixels at once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uxiliary tool for cross-calibration of other methods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an only calibrate one point on the pixel’s charge curve at a comparably low level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mplex spectra (could be mitigated by monochromators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062621233"/>
                      </a:ext>
                    </a:extLst>
                  </a:tr>
                  <a:tr h="5486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X-ray (high energy)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calable intensit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evice depending flat field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ery low photoabsorption probabilit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dominated by the Compton effect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accessibility (synchrotron radiation sources)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789777539"/>
                      </a:ext>
                    </a:extLst>
                  </a:tr>
                  <a:tr h="60960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178" t="-296000" r="-200888" b="-517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imilarity to a TEM beam</a:t>
                          </a:r>
                        </a:p>
                        <a:p>
                          <a:pPr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</a:pP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no vacuum apparatus necessary</a:t>
                          </a:r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ntinuous spectrum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most of the electrons would leave the detector, so the escape energy has to be measured (scintillator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214012782"/>
                      </a:ext>
                    </a:extLst>
                  </a:tr>
                  <a:tr h="70104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178" t="-344348" r="-200888" b="-34956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 sz="100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severe radiation damage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energy level too high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acuum device and corresponding interconnection hardware necessary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600751385"/>
                      </a:ext>
                    </a:extLst>
                  </a:tr>
                  <a:tr h="85344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TEM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30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radual increase of both, intensity (in 10eV steps up to 300keV) and quantity (focusing/defocusing) </a:t>
                          </a: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  <a:sym typeface="Wingdings" panose="05000000000000000000" pitchFamily="2" charset="2"/>
                            </a:rPr>
                            <a:t></a:t>
                          </a: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 build complete charge curve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vacuum device and corresponding interconnection hardware necessary</a:t>
                          </a:r>
                        </a:p>
                        <a:p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Poisson noise (shot noise) due to fluctuations of emitted TEM electrons </a:t>
                          </a: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  <a:sym typeface="Wingdings" panose="05000000000000000000" pitchFamily="2" charset="2"/>
                            </a:rPr>
                            <a:t></a:t>
                          </a:r>
                          <a:r>
                            <a:rPr lang="en-US" sz="1000" kern="1200" smtClean="0">
                              <a:solidFill>
                                <a:schemeClr val="dk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 precise intensity measurements necessary</a:t>
                          </a:r>
                          <a:endParaRPr lang="en-US" sz="100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396311825"/>
                      </a:ext>
                    </a:extLst>
                  </a:tr>
                  <a:tr h="60960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Laser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no 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ntensity controllable via applied voltage and/or time (pulse width &amp; frequ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ull control of individual pixel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total energy transfer unknown (quantum effici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only cell-by-cell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ack of absolute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2383166207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LED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no radiation damag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ontrollable intensity (by frequency or LED current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simultaneous calibration of all pixels possible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total energy transfer unknown (quantum efficiency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ack of absolute calibratio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896749352"/>
                      </a:ext>
                    </a:extLst>
                  </a:tr>
                  <a:tr h="457200">
                    <a:tc>
                      <a:txBody>
                        <a:bodyPr/>
                        <a:lstStyle/>
                        <a:p>
                          <a:r>
                            <a:rPr lang="en-US" smtClean="0"/>
                            <a:t>CLEAR backemission</a:t>
                          </a:r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simultaneous calibration of all pixels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level of original backemission not known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  <a:p>
                          <a:pPr algn="l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inding optimal operation point for all pixels (process variations)</a:t>
                          </a:r>
                          <a:endParaRPr lang="en-US" sz="10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873896113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347379"/>
          </a:xfrm>
        </p:spPr>
        <p:txBody>
          <a:bodyPr/>
          <a:lstStyle/>
          <a:p>
            <a:pPr algn="ctr"/>
            <a:r>
              <a:rPr lang="de-DE" smtClean="0"/>
              <a:t>Several methods with pros &amp; cons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8899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905645"/>
          </a:xfrm>
        </p:spPr>
        <p:txBody>
          <a:bodyPr/>
          <a:lstStyle/>
          <a:p>
            <a:pPr algn="ctr"/>
            <a:r>
              <a:rPr lang="de-DE" smtClean="0"/>
              <a:t>Selected method: radioactive source for basic led intensity calibration + scan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936733" y="1471598"/>
            <a:ext cx="7757998" cy="312943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405568" y="1779306"/>
            <a:ext cx="2398092" cy="209031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u="sng" smtClean="0"/>
              <a:t>LED conditions: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smtClean="0"/>
              <a:t>Linerarity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smtClean="0"/>
              <a:t>Stability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smtClean="0"/>
              <a:t>Reproducibility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smtClean="0"/>
              <a:t>Homogeneity (flat field)</a:t>
            </a:r>
            <a:endParaRPr lang="en-US" sz="1600" dirty="0" err="1" smtClean="0"/>
          </a:p>
        </p:txBody>
      </p:sp>
      <p:pic>
        <p:nvPicPr>
          <p:cNvPr id="7" name="Grafik 6"/>
          <p:cNvPicPr/>
          <p:nvPr/>
        </p:nvPicPr>
        <p:blipFill>
          <a:blip r:embed="rId3"/>
          <a:stretch>
            <a:fillRect/>
          </a:stretch>
        </p:blipFill>
        <p:spPr>
          <a:xfrm>
            <a:off x="207461" y="4444513"/>
            <a:ext cx="4731385" cy="209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33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848408"/>
          </a:xfrm>
        </p:spPr>
        <p:txBody>
          <a:bodyPr/>
          <a:lstStyle/>
          <a:p>
            <a:pPr algn="ctr"/>
            <a:r>
              <a:rPr lang="de-DE" smtClean="0"/>
              <a:t>Led scan simultaneously for all pixels</a:t>
            </a:r>
            <a:br>
              <a:rPr lang="de-DE" smtClean="0"/>
            </a:br>
            <a:r>
              <a:rPr lang="de-DE" sz="1600" smtClean="0"/>
              <a:t>polynomial fit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822610" y="2155001"/>
            <a:ext cx="4859337" cy="2910878"/>
          </a:xfrm>
          <a:prstGeom prst="rect">
            <a:avLst/>
          </a:prstGeom>
        </p:spPr>
      </p:pic>
      <p:pic>
        <p:nvPicPr>
          <p:cNvPr id="8" name="Inhaltsplatzhalter 7"/>
          <p:cNvPicPr>
            <a:picLocks noGrp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096001" y="1652077"/>
            <a:ext cx="4859338" cy="207952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731520" y="5357692"/>
            <a:ext cx="6179419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>
                <a:solidFill>
                  <a:srgbClr val="FF0000"/>
                </a:solidFill>
              </a:rPr>
              <a:t>e</a:t>
            </a:r>
            <a:r>
              <a:rPr lang="en-US" sz="1600" b="1" smtClean="0">
                <a:solidFill>
                  <a:srgbClr val="FF0000"/>
                </a:solidFill>
              </a:rPr>
              <a:t>very pixel ADU value corresponds to a certain electron reference value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1294" y="3784641"/>
            <a:ext cx="2995718" cy="256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905645"/>
          </a:xfrm>
        </p:spPr>
        <p:txBody>
          <a:bodyPr/>
          <a:lstStyle/>
          <a:p>
            <a:pPr algn="ctr"/>
            <a:r>
              <a:rPr lang="de-DE" smtClean="0"/>
              <a:t>Whole sensor calibration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edet sensor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alibration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9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896606" y="2097088"/>
            <a:ext cx="8398788" cy="431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97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mvkTfYBqQbk3o2h2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B195195-032B-4C3E-9FC2-E2D3C4EDB224}">
  <we:reference id="wa104380121" version="2.0.0.0" store="de-DE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62</Words>
  <Application>Microsoft Office PowerPoint</Application>
  <PresentationFormat>Breitbild</PresentationFormat>
  <Paragraphs>10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2" baseType="lpstr">
      <vt:lpstr>.SF NS Symbols Regular</vt:lpstr>
      <vt:lpstr>Arial</vt:lpstr>
      <vt:lpstr>Calibri</vt:lpstr>
      <vt:lpstr>Calibri Light</vt:lpstr>
      <vt:lpstr>Cambria Math</vt:lpstr>
      <vt:lpstr>Symbol</vt:lpstr>
      <vt:lpstr>Times New Roman</vt:lpstr>
      <vt:lpstr>Wingdings</vt:lpstr>
      <vt:lpstr>Wingdings 3</vt:lpstr>
      <vt:lpstr>Office</vt:lpstr>
      <vt:lpstr>1_Office</vt:lpstr>
      <vt:lpstr>think-cell Folie</vt:lpstr>
      <vt:lpstr>EDET SENSOR CALIBRATION </vt:lpstr>
      <vt:lpstr>Problem: pixel-to-pixel gain variations main reason: variations in manufacturing process</vt:lpstr>
      <vt:lpstr>Pixel gain dispersion typical for all Si-detectors Conventional linear calibration</vt:lpstr>
      <vt:lpstr>Nonlinear response curve of an edet pixel</vt:lpstr>
      <vt:lpstr>Nonlinear pixel response intensification of the calibration problem at pixel borders and edges</vt:lpstr>
      <vt:lpstr>Several methods with pros &amp; cons</vt:lpstr>
      <vt:lpstr>Selected method: radioactive source for basic led intensity calibration + scan</vt:lpstr>
      <vt:lpstr>Led scan simultaneously for all pixels polynomial fit</vt:lpstr>
      <vt:lpstr>Whole sensor calibration</vt:lpstr>
      <vt:lpstr>EDET DETECTOR calibration – Suggestion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ET DELAY SCANS</dc:title>
  <dc:creator>Eduard Prinker</dc:creator>
  <cp:lastModifiedBy>Eduard Prinker</cp:lastModifiedBy>
  <cp:revision>283</cp:revision>
  <dcterms:created xsi:type="dcterms:W3CDTF">2022-06-24T11:21:47Z</dcterms:created>
  <dcterms:modified xsi:type="dcterms:W3CDTF">2023-05-19T17:08:09Z</dcterms:modified>
</cp:coreProperties>
</file>